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255" d="100"/>
          <a:sy n="255" d="100"/>
        </p:scale>
        <p:origin x="-5772" y="-28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elant Vos" userId="698b261a7a357bca" providerId="LiveId" clId="{B3FCAAFF-4CC8-429E-B267-461C6910F084}"/>
    <pc:docChg chg="undo custSel modSld">
      <pc:chgData name="Roelant Vos" userId="698b261a7a357bca" providerId="LiveId" clId="{B3FCAAFF-4CC8-429E-B267-461C6910F084}" dt="2024-09-25T07:20:43.584" v="8" actId="1076"/>
      <pc:docMkLst>
        <pc:docMk/>
      </pc:docMkLst>
      <pc:sldChg chg="modSp mod">
        <pc:chgData name="Roelant Vos" userId="698b261a7a357bca" providerId="LiveId" clId="{B3FCAAFF-4CC8-429E-B267-461C6910F084}" dt="2024-09-25T07:20:43.584" v="8" actId="1076"/>
        <pc:sldMkLst>
          <pc:docMk/>
          <pc:sldMk cId="2066917484" sldId="260"/>
        </pc:sldMkLst>
        <pc:spChg chg="mod">
          <ac:chgData name="Roelant Vos" userId="698b261a7a357bca" providerId="LiveId" clId="{B3FCAAFF-4CC8-429E-B267-461C6910F084}" dt="2024-09-25T07:20:43.584" v="8" actId="1076"/>
          <ac:spMkLst>
            <pc:docMk/>
            <pc:sldMk cId="2066917484" sldId="260"/>
            <ac:spMk id="108" creationId="{2CB8AC33-5922-FD65-CCB7-C2C838F703D3}"/>
          </ac:spMkLst>
        </pc:spChg>
        <pc:grpChg chg="mod">
          <ac:chgData name="Roelant Vos" userId="698b261a7a357bca" providerId="LiveId" clId="{B3FCAAFF-4CC8-429E-B267-461C6910F084}" dt="2024-09-25T07:20:43.584" v="8" actId="1076"/>
          <ac:grpSpMkLst>
            <pc:docMk/>
            <pc:sldMk cId="2066917484" sldId="260"/>
            <ac:grpSpMk id="97" creationId="{10DB6FF2-6FB4-95CC-A6AB-867A4860BF34}"/>
          </ac:grpSpMkLst>
        </pc:grpChg>
        <pc:grpChg chg="mod">
          <ac:chgData name="Roelant Vos" userId="698b261a7a357bca" providerId="LiveId" clId="{B3FCAAFF-4CC8-429E-B267-461C6910F084}" dt="2024-09-25T07:20:43.584" v="8" actId="1076"/>
          <ac:grpSpMkLst>
            <pc:docMk/>
            <pc:sldMk cId="2066917484" sldId="260"/>
            <ac:grpSpMk id="103" creationId="{404A0051-B0A1-EB0B-A8C4-68E4D4169E9B}"/>
          </ac:grpSpMkLst>
        </pc:grpChg>
        <pc:cxnChg chg="mod">
          <ac:chgData name="Roelant Vos" userId="698b261a7a357bca" providerId="LiveId" clId="{B3FCAAFF-4CC8-429E-B267-461C6910F084}" dt="2024-09-25T07:19:53.109" v="1" actId="1076"/>
          <ac:cxnSpMkLst>
            <pc:docMk/>
            <pc:sldMk cId="2066917484" sldId="260"/>
            <ac:cxnSpMk id="33" creationId="{BA899A56-D7A6-F631-78B7-5714A35BBCCB}"/>
          </ac:cxnSpMkLst>
        </pc:cxnChg>
        <pc:cxnChg chg="mod">
          <ac:chgData name="Roelant Vos" userId="698b261a7a357bca" providerId="LiveId" clId="{B3FCAAFF-4CC8-429E-B267-461C6910F084}" dt="2024-09-25T07:19:53.109" v="1" actId="1076"/>
          <ac:cxnSpMkLst>
            <pc:docMk/>
            <pc:sldMk cId="2066917484" sldId="260"/>
            <ac:cxnSpMk id="34" creationId="{E2BE39B7-A69E-372E-496C-DE2F8E71C56A}"/>
          </ac:cxnSpMkLst>
        </pc:cxnChg>
        <pc:cxnChg chg="mod">
          <ac:chgData name="Roelant Vos" userId="698b261a7a357bca" providerId="LiveId" clId="{B3FCAAFF-4CC8-429E-B267-461C6910F084}" dt="2024-09-25T07:20:43.584" v="8" actId="1076"/>
          <ac:cxnSpMkLst>
            <pc:docMk/>
            <pc:sldMk cId="2066917484" sldId="260"/>
            <ac:cxnSpMk id="96" creationId="{0751F88D-6B31-C351-6A65-9CD7CBDAF119}"/>
          </ac:cxnSpMkLst>
        </pc:cxnChg>
        <pc:cxnChg chg="mod">
          <ac:chgData name="Roelant Vos" userId="698b261a7a357bca" providerId="LiveId" clId="{B3FCAAFF-4CC8-429E-B267-461C6910F084}" dt="2024-09-25T07:20:43.584" v="8" actId="1076"/>
          <ac:cxnSpMkLst>
            <pc:docMk/>
            <pc:sldMk cId="2066917484" sldId="260"/>
            <ac:cxnSpMk id="106" creationId="{273E17BD-6E90-9750-C18A-255E452D42DC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9376" y="1219237"/>
            <a:ext cx="5112568" cy="1584176"/>
          </a:xfrm>
        </p:spPr>
        <p:txBody>
          <a:bodyPr>
            <a:noAutofit/>
          </a:bodyPr>
          <a:lstStyle>
            <a:lvl1pPr algn="l">
              <a:defRPr sz="2052" b="1" i="0" baseline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1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446DAAD-EAC3-8546-8190-8AC629AFDA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865874"/>
            <a:ext cx="5112568" cy="742955"/>
          </a:xfrm>
        </p:spPr>
        <p:txBody>
          <a:bodyPr anchor="t">
            <a:norm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  <a:latin typeface="Okomito Next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93017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2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17126-54E8-334E-8C6E-56CC8240E429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1408166"/>
            <a:ext cx="5615999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81011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1278160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3339325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mparison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B56EEF82-6AB3-BD49-A320-CB04733AFD23}"/>
              </a:ext>
            </a:extLst>
          </p:cNvPr>
          <p:cNvSpPr/>
          <p:nvPr userDrawn="1"/>
        </p:nvSpPr>
        <p:spPr>
          <a:xfrm>
            <a:off x="6096004" y="1408161"/>
            <a:ext cx="6085613" cy="46754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59EABBE-27F2-5F42-A991-97CAF87836E0}"/>
              </a:ext>
            </a:extLst>
          </p:cNvPr>
          <p:cNvSpPr/>
          <p:nvPr userDrawn="1"/>
        </p:nvSpPr>
        <p:spPr>
          <a:xfrm>
            <a:off x="2" y="1412776"/>
            <a:ext cx="5951355" cy="4675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70" b="0" i="0">
              <a:latin typeface="Okomito Next Light" pitchFamily="2" charset="77"/>
            </a:endParaRP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6A56DBD-7177-4042-B77A-C581A7FA30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358" y="1556795"/>
            <a:ext cx="5435666" cy="576064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CCA16-AAE8-CA4A-AC36-515622918C4B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0" y="2132857"/>
            <a:ext cx="5435664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5803E112-810A-DF41-BA52-FAF2D4EFE12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642" y="2128244"/>
            <a:ext cx="5615999" cy="3821036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770"/>
            </a:lvl2pPr>
            <a:lvl3pPr>
              <a:defRPr sz="684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A66A30A-CEDE-384E-AAF8-E435283B0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641" y="1558220"/>
            <a:ext cx="5616001" cy="570027"/>
          </a:xfrm>
        </p:spPr>
        <p:txBody>
          <a:bodyPr anchor="t">
            <a:noAutofit/>
          </a:bodyPr>
          <a:lstStyle>
            <a:lvl1pPr marL="0" indent="0">
              <a:buNone/>
              <a:defRPr sz="1197" b="0" i="0" cap="all" baseline="0">
                <a:solidFill>
                  <a:schemeClr val="bg2">
                    <a:lumMod val="25000"/>
                  </a:schemeClr>
                </a:solidFill>
                <a:latin typeface="Okomito Next Medium" pitchFamily="2" charset="77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492192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Pictur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5615999" cy="102649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409BAB6-EC52-094D-9F49-FFB04D682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044F4-C51D-0840-BB5C-7C7A9DAE8F31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3E621CE-B422-DE42-9AAC-E62873453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19E3A63-E595-1D48-A20A-527212FA66B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5615999" cy="4680049"/>
          </a:xfrm>
        </p:spPr>
        <p:txBody>
          <a:bodyPr>
            <a:normAutofit/>
          </a:bodyPr>
          <a:lstStyle>
            <a:lvl1pPr>
              <a:defRPr sz="855"/>
            </a:lvl1pPr>
            <a:lvl2pPr>
              <a:defRPr sz="855"/>
            </a:lvl2pPr>
            <a:lvl3pPr>
              <a:defRPr sz="770"/>
            </a:lvl3pPr>
            <a:lvl4pPr>
              <a:defRPr sz="684"/>
            </a:lvl4pPr>
            <a:lvl5pPr>
              <a:defRPr sz="684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96566A2-6646-8C49-B4CB-3BB82B4556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4031" y="0"/>
            <a:ext cx="580796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670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>
            <a:extLst>
              <a:ext uri="{FF2B5EF4-FFF2-40B4-BE49-F238E27FC236}">
                <a16:creationId xmlns:a16="http://schemas.microsoft.com/office/drawing/2014/main" id="{190391CB-87B6-094F-BE07-893CF0914C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3506411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C50165A-EFCC-4C4E-9CE2-8E38A4CB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"/>
            <a:ext cx="6023993" cy="33569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CBE4AB9-C38D-D44C-AA25-2125E1A7FDC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8014" y="3501012"/>
            <a:ext cx="6023991" cy="335159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3B207FF4-0F88-5743-9E29-6A0A53B0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4389" y="1173869"/>
            <a:ext cx="5328592" cy="1026494"/>
          </a:xfrm>
        </p:spPr>
        <p:txBody>
          <a:bodyPr/>
          <a:lstStyle>
            <a:lvl1pPr algn="ctr"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TITEL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1D9F7D34-AB40-954A-888E-3364A8D1694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28CFDB51-9F66-2341-863F-0B2767D04A19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02FAF9CF-583D-5B4A-AE06-CF08D6F435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847527" y="6232226"/>
            <a:ext cx="4536504" cy="365125"/>
          </a:xfrm>
        </p:spPr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16738767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D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2CE6C6E-BFFA-0744-BC13-5E0C210244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66C741D-3F81-6E49-B024-E048866A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88849-4C4B-DD42-877F-580377490B98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71FC663-9A6A-1646-815F-B7576C916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78CC14F5-0578-CB41-980F-353FA4C4B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08" y="5987917"/>
            <a:ext cx="1066518" cy="48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66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D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667809-D1AC-2547-A72B-DF23B9821B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C7106-F3C6-D246-B6AE-4C37A09F5C67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6BA4F8C-C361-AD4E-A40F-D8F54D0E4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86306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3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87552"/>
            <a:ext cx="10972800" cy="5216621"/>
          </a:xfrm>
        </p:spPr>
        <p:txBody>
          <a:bodyPr/>
          <a:lstStyle>
            <a:lvl1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435011" y="6513613"/>
            <a:ext cx="1313180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elant Vos – www.roelantvos.com</a:t>
            </a:r>
          </a:p>
        </p:txBody>
      </p:sp>
    </p:spTree>
    <p:extLst>
      <p:ext uri="{BB962C8B-B14F-4D97-AF65-F5344CB8AC3E}">
        <p14:creationId xmlns:p14="http://schemas.microsoft.com/office/powerpoint/2010/main" val="3647510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4031"/>
            <a:ext cx="10972800" cy="608076"/>
          </a:xfrm>
        </p:spPr>
        <p:txBody>
          <a:bodyPr/>
          <a:lstStyle>
            <a:lvl1pPr>
              <a:defRPr b="0">
                <a:solidFill>
                  <a:srgbClr val="6A813B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79519"/>
            <a:ext cx="5384801" cy="5221944"/>
          </a:xfrm>
        </p:spPr>
        <p:txBody>
          <a:bodyPr/>
          <a:lstStyle>
            <a:lvl1pPr>
              <a:defRPr sz="1188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1027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866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77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  <a:lvl6pPr>
              <a:defRPr sz="770"/>
            </a:lvl6pPr>
            <a:lvl7pPr>
              <a:defRPr sz="770"/>
            </a:lvl7pPr>
            <a:lvl8pPr>
              <a:defRPr sz="770"/>
            </a:lvl8pPr>
            <a:lvl9pPr>
              <a:defRPr sz="7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3" y="6477001"/>
            <a:ext cx="1524000" cy="381001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514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63EF97D3-3A8A-402A-BE14-7FDA0EF7DEF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546418" y="6513613"/>
            <a:ext cx="1090363" cy="1845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99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pyright 2023 Roelant Vos</a:t>
            </a:r>
          </a:p>
        </p:txBody>
      </p:sp>
    </p:spTree>
    <p:extLst>
      <p:ext uri="{BB962C8B-B14F-4D97-AF65-F5344CB8AC3E}">
        <p14:creationId xmlns:p14="http://schemas.microsoft.com/office/powerpoint/2010/main" val="1947804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9397" y="813841"/>
            <a:ext cx="5940661" cy="1440160"/>
          </a:xfrm>
        </p:spPr>
        <p:txBody>
          <a:bodyPr anchor="t">
            <a:normAutofit/>
          </a:bodyPr>
          <a:lstStyle>
            <a:lvl1pPr algn="l">
              <a:defRPr sz="2052" b="1" i="0">
                <a:solidFill>
                  <a:schemeClr val="tx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TITEL SLIDE OPTION 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463139-ED53-9249-8C23-303D2EBF4C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9397" y="2348884"/>
            <a:ext cx="5940661" cy="742955"/>
          </a:xfrm>
        </p:spPr>
        <p:txBody>
          <a:bodyPr anchor="t">
            <a:noAutofit/>
          </a:bodyPr>
          <a:lstStyle>
            <a:lvl1pPr marL="0" indent="0">
              <a:buNone/>
              <a:defRPr sz="171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858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005256"/>
              </p:ext>
            </p:extLst>
          </p:nvPr>
        </p:nvGraphicFramePr>
        <p:xfrm>
          <a:off x="0" y="3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21166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188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Agenda_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3F8C0DBA-135D-5143-AB28-191EAF9591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95335" y="230893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AB586ECD-DCFD-854B-B216-E23CCA0286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97634" y="270629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BF479AFC-187C-6340-8016-46D77055D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95335" y="3111315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27F20A0B-1C9D-0B45-AF26-BD3BDB8F91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95335" y="3512508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7E6C29EC-1533-5E4B-905D-AAF0621260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5335" y="391370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9">
            <a:extLst>
              <a:ext uri="{FF2B5EF4-FFF2-40B4-BE49-F238E27FC236}">
                <a16:creationId xmlns:a16="http://schemas.microsoft.com/office/drawing/2014/main" id="{3D35D4DC-AEFC-DC48-9FD7-EA31370A9F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5335" y="4310321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413A721-5760-F545-885D-47CB6417AB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5361" y="6232227"/>
            <a:ext cx="2743200" cy="365125"/>
          </a:xfrm>
        </p:spPr>
        <p:txBody>
          <a:bodyPr/>
          <a:lstStyle/>
          <a:p>
            <a:fld id="{520274C3-B06C-8E4B-BB95-2D845AD05C47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7785D30-E274-994D-BC99-E18AB8052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AF3EA815-5EFB-D54A-9D07-5B51889182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5334" y="4697712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7DE9E69A-F5F0-8841-8804-67144C0639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5335" y="5101989"/>
            <a:ext cx="5608237" cy="287256"/>
          </a:xfrm>
        </p:spPr>
        <p:txBody>
          <a:bodyPr anchor="ctr">
            <a:normAutofit/>
          </a:bodyPr>
          <a:lstStyle>
            <a:lvl1pPr marL="0" indent="0">
              <a:buNone/>
              <a:defRPr sz="513" b="0" i="0" cap="all" baseline="0">
                <a:latin typeface="Okomito Next Medium" pitchFamily="2" charset="77"/>
              </a:defRPr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itel 12">
            <a:extLst>
              <a:ext uri="{FF2B5EF4-FFF2-40B4-BE49-F238E27FC236}">
                <a16:creationId xmlns:a16="http://schemas.microsoft.com/office/drawing/2014/main" id="{B5032603-3E2C-0DCC-D4E8-639EA2F8ED7B}"/>
              </a:ext>
            </a:extLst>
          </p:cNvPr>
          <p:cNvSpPr txBox="1">
            <a:spLocks/>
          </p:cNvSpPr>
          <p:nvPr userDrawn="1"/>
        </p:nvSpPr>
        <p:spPr>
          <a:xfrm>
            <a:off x="2695335" y="777635"/>
            <a:ext cx="5608237" cy="1026494"/>
          </a:xfrm>
          <a:prstGeom prst="rect">
            <a:avLst/>
          </a:prstGeom>
        </p:spPr>
        <p:txBody>
          <a:bodyPr vert="horz" lIns="39096" tIns="19548" rIns="39096" bIns="1954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accent1"/>
                </a:solidFill>
                <a:latin typeface="Okomito" pitchFamily="2" charset="77"/>
                <a:ea typeface="+mj-ea"/>
                <a:cs typeface="+mj-cs"/>
              </a:defRPr>
            </a:lvl1pPr>
          </a:lstStyle>
          <a:p>
            <a:r>
              <a:rPr lang="de-DE" sz="1539" cap="all" baseline="0">
                <a:latin typeface="Okomito Next" pitchFamily="2" charset="77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3589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1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1484786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1</a:t>
            </a:r>
          </a:p>
        </p:txBody>
      </p:sp>
    </p:spTree>
    <p:extLst>
      <p:ext uri="{BB962C8B-B14F-4D97-AF65-F5344CB8AC3E}">
        <p14:creationId xmlns:p14="http://schemas.microsoft.com/office/powerpoint/2010/main" val="1797552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1343474" y="2348884"/>
            <a:ext cx="9505055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2</a:t>
            </a:r>
          </a:p>
        </p:txBody>
      </p:sp>
    </p:spTree>
    <p:extLst>
      <p:ext uri="{BB962C8B-B14F-4D97-AF65-F5344CB8AC3E}">
        <p14:creationId xmlns:p14="http://schemas.microsoft.com/office/powerpoint/2010/main" val="3269634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3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99855" y="2348884"/>
            <a:ext cx="6408712" cy="2160240"/>
          </a:xfrm>
        </p:spPr>
        <p:txBody>
          <a:bodyPr anchor="ctr">
            <a:normAutofit/>
          </a:bodyPr>
          <a:lstStyle>
            <a:lvl1pPr algn="ctr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3</a:t>
            </a:r>
          </a:p>
        </p:txBody>
      </p:sp>
    </p:spTree>
    <p:extLst>
      <p:ext uri="{BB962C8B-B14F-4D97-AF65-F5344CB8AC3E}">
        <p14:creationId xmlns:p14="http://schemas.microsoft.com/office/powerpoint/2010/main" val="576282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hapter_0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2BBDBE2-1D6F-ED43-8226-33960F329C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408" y="764707"/>
            <a:ext cx="9505055" cy="2160240"/>
          </a:xfrm>
        </p:spPr>
        <p:txBody>
          <a:bodyPr anchor="ctr">
            <a:normAutofit/>
          </a:bodyPr>
          <a:lstStyle>
            <a:lvl1pPr algn="l">
              <a:defRPr sz="1539" b="1" i="0">
                <a:solidFill>
                  <a:schemeClr val="bg1"/>
                </a:solidFill>
                <a:latin typeface="Okomito Next" pitchFamily="2" charset="77"/>
              </a:defRPr>
            </a:lvl1pPr>
          </a:lstStyle>
          <a:p>
            <a:r>
              <a:rPr lang="de-DE"/>
              <a:t>CHAPTER OPTION 4</a:t>
            </a:r>
          </a:p>
        </p:txBody>
      </p:sp>
    </p:spTree>
    <p:extLst>
      <p:ext uri="{BB962C8B-B14F-4D97-AF65-F5344CB8AC3E}">
        <p14:creationId xmlns:p14="http://schemas.microsoft.com/office/powerpoint/2010/main" val="68292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EA90B-BD1B-074B-9A21-A3063B4D30A8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5" y="1412779"/>
            <a:ext cx="11521281" cy="468004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10217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D_Content_1Colum_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58C21-AAD0-D543-A2CB-D08F60060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1" y="242266"/>
            <a:ext cx="8496944" cy="1026494"/>
          </a:xfrm>
        </p:spPr>
        <p:txBody>
          <a:bodyPr/>
          <a:lstStyle>
            <a:lvl1pPr>
              <a:defRPr b="1" i="0">
                <a:latin typeface="Okomito Next" pitchFamily="2" charset="77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0C9C6B5-8FD5-4341-AB3B-E263DB5CC2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5503-ED8D-A444-A977-A40702F2EF90}" type="datetime4">
              <a:rPr lang="de-DE" smtClean="0"/>
              <a:t>25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5E7B0F3-282A-9D4C-96A2-1F21155F3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TEDAMOH GmbH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0C2A925-B9A5-D04E-A08D-B100BD13E19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5361" y="1412779"/>
            <a:ext cx="8496944" cy="4680049"/>
          </a:xfrm>
        </p:spPr>
        <p:txBody>
          <a:bodyPr/>
          <a:lstStyle>
            <a:lvl1pPr marL="0" indent="0" algn="l">
              <a:buNone/>
              <a:defRPr/>
            </a:lvl1pPr>
            <a:lvl2pPr marL="195488" indent="0">
              <a:buNone/>
              <a:defRPr/>
            </a:lvl2pPr>
            <a:lvl3pPr marL="390976" indent="0">
              <a:buNone/>
              <a:defRPr/>
            </a:lvl3pPr>
            <a:lvl4pPr marL="586465" indent="0">
              <a:buNone/>
              <a:defRPr/>
            </a:lvl4pPr>
            <a:lvl5pPr marL="781953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8111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5365" y="242266"/>
            <a:ext cx="11521281" cy="10264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5365" y="1412781"/>
            <a:ext cx="11521281" cy="4764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35361" y="62322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fld id="{A6AB691F-35D7-FE47-BE54-7357E324D3B8}" type="datetime4">
              <a:rPr lang="de-DE" smtClean="0"/>
              <a:pPr/>
              <a:t>25. September 2024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EDABB34-EFEC-1E4B-A47F-238DA43AD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47527" y="6232226"/>
            <a:ext cx="4536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70" b="0" i="0">
                <a:solidFill>
                  <a:schemeClr val="accent3">
                    <a:lumMod val="75000"/>
                  </a:schemeClr>
                </a:solidFill>
                <a:latin typeface="Okomito Next Medium" pitchFamily="2" charset="77"/>
              </a:defRPr>
            </a:lvl1pPr>
          </a:lstStyle>
          <a:p>
            <a:r>
              <a:rPr lang="de-DE"/>
              <a:t>© TEDAMOH GmbH</a:t>
            </a:r>
          </a:p>
        </p:txBody>
      </p:sp>
    </p:spTree>
    <p:extLst>
      <p:ext uri="{BB962C8B-B14F-4D97-AF65-F5344CB8AC3E}">
        <p14:creationId xmlns:p14="http://schemas.microsoft.com/office/powerpoint/2010/main" val="3470138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sldNum="0" hdr="0"/>
  <p:txStyles>
    <p:titleStyle>
      <a:lvl1pPr algn="l" defTabSz="390976" rtl="0" eaLnBrk="1" latinLnBrk="0" hangingPunct="1">
        <a:lnSpc>
          <a:spcPct val="90000"/>
        </a:lnSpc>
        <a:spcBef>
          <a:spcPct val="0"/>
        </a:spcBef>
        <a:buNone/>
        <a:defRPr sz="1026" b="1" i="0" kern="1200" cap="all" baseline="0">
          <a:solidFill>
            <a:schemeClr val="accent1"/>
          </a:solidFill>
          <a:latin typeface="Okomito Next" pitchFamily="2" charset="77"/>
          <a:ea typeface="+mj-ea"/>
          <a:cs typeface="+mj-cs"/>
        </a:defRPr>
      </a:lvl1pPr>
    </p:titleStyle>
    <p:bodyStyle>
      <a:lvl1pPr marL="97744" indent="-97744" algn="l" defTabSz="390976" rtl="0" eaLnBrk="1" latinLnBrk="0" hangingPunct="1">
        <a:lnSpc>
          <a:spcPct val="100000"/>
        </a:lnSpc>
        <a:spcBef>
          <a:spcPts val="427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1pPr>
      <a:lvl2pPr marL="293232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855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2pPr>
      <a:lvl3pPr marL="488720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770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3pPr>
      <a:lvl4pPr marL="684209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4pPr>
      <a:lvl5pPr marL="879697" indent="-97744" algn="l" defTabSz="390976" rtl="0" eaLnBrk="1" latinLnBrk="0" hangingPunct="1">
        <a:lnSpc>
          <a:spcPct val="100000"/>
        </a:lnSpc>
        <a:spcBef>
          <a:spcPts val="214"/>
        </a:spcBef>
        <a:buClr>
          <a:schemeClr val="accent1"/>
        </a:buClr>
        <a:buFont typeface="Calibri" panose="020F0502020204030204" pitchFamily="34" charset="0"/>
        <a:buChar char="¬"/>
        <a:defRPr sz="684" b="0" i="0" kern="1200">
          <a:solidFill>
            <a:schemeClr val="accent3">
              <a:lumMod val="25000"/>
            </a:schemeClr>
          </a:solidFill>
          <a:latin typeface="Okomito Next" pitchFamily="2" charset="77"/>
          <a:ea typeface="+mn-ea"/>
          <a:cs typeface="+mn-cs"/>
        </a:defRPr>
      </a:lvl5pPr>
      <a:lvl6pPr marL="1075184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270672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466160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661649" indent="-97744" algn="l" defTabSz="390976" rtl="0" eaLnBrk="1" latinLnBrk="0" hangingPunct="1">
        <a:lnSpc>
          <a:spcPct val="90000"/>
        </a:lnSpc>
        <a:spcBef>
          <a:spcPts val="214"/>
        </a:spcBef>
        <a:buFont typeface="Arial" panose="020B0604020202020204" pitchFamily="34" charset="0"/>
        <a:buChar char="•"/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1pPr>
      <a:lvl2pPr marL="19548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2pPr>
      <a:lvl3pPr marL="39097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3pPr>
      <a:lvl4pPr marL="586465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4pPr>
      <a:lvl5pPr marL="781953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5pPr>
      <a:lvl6pPr marL="977441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6pPr>
      <a:lvl7pPr marL="1172928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7pPr>
      <a:lvl8pPr marL="1368416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8pPr>
      <a:lvl9pPr marL="1563904" algn="l" defTabSz="390976" rtl="0" eaLnBrk="1" latinLnBrk="0" hangingPunct="1">
        <a:defRPr sz="7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34">
          <p15:clr>
            <a:srgbClr val="F26B43"/>
          </p15:clr>
        </p15:guide>
        <p15:guide id="2" pos="50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8F052885-BF90-6E31-C869-06F66795B1BF}"/>
              </a:ext>
            </a:extLst>
          </p:cNvPr>
          <p:cNvSpPr/>
          <p:nvPr/>
        </p:nvSpPr>
        <p:spPr>
          <a:xfrm>
            <a:off x="5896592" y="339470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Parame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12D386-5866-B5DC-9AE3-50CCA12AAA7D}"/>
              </a:ext>
            </a:extLst>
          </p:cNvPr>
          <p:cNvSpPr/>
          <p:nvPr/>
        </p:nvSpPr>
        <p:spPr>
          <a:xfrm>
            <a:off x="3612012" y="3521830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Lay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639B7B-2C8E-88B6-9A39-CF47AF591CD1}"/>
              </a:ext>
            </a:extLst>
          </p:cNvPr>
          <p:cNvCxnSpPr>
            <a:cxnSpLocks/>
          </p:cNvCxnSpPr>
          <p:nvPr/>
        </p:nvCxnSpPr>
        <p:spPr>
          <a:xfrm>
            <a:off x="3835450" y="3935991"/>
            <a:ext cx="0" cy="15692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58D0D3F-D769-652A-A630-85A2142E4123}"/>
              </a:ext>
            </a:extLst>
          </p:cNvPr>
          <p:cNvCxnSpPr>
            <a:cxnSpLocks/>
          </p:cNvCxnSpPr>
          <p:nvPr/>
        </p:nvCxnSpPr>
        <p:spPr>
          <a:xfrm>
            <a:off x="4049365" y="4299995"/>
            <a:ext cx="348098" cy="1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C21362F-E108-BCD6-7F03-E6EFAA294620}"/>
              </a:ext>
            </a:extLst>
          </p:cNvPr>
          <p:cNvCxnSpPr>
            <a:cxnSpLocks/>
          </p:cNvCxnSpPr>
          <p:nvPr/>
        </p:nvCxnSpPr>
        <p:spPr>
          <a:xfrm>
            <a:off x="4879360" y="3147065"/>
            <a:ext cx="166228" cy="2535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C408AB-6293-CEED-C0B6-CCC4B818A1DD}"/>
              </a:ext>
            </a:extLst>
          </p:cNvPr>
          <p:cNvCxnSpPr>
            <a:cxnSpLocks/>
          </p:cNvCxnSpPr>
          <p:nvPr/>
        </p:nvCxnSpPr>
        <p:spPr>
          <a:xfrm flipH="1">
            <a:off x="4877848" y="3788713"/>
            <a:ext cx="158282" cy="2216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1C8D5B-C8B3-911F-8ED5-2A1CDD31507B}"/>
              </a:ext>
            </a:extLst>
          </p:cNvPr>
          <p:cNvCxnSpPr>
            <a:cxnSpLocks/>
          </p:cNvCxnSpPr>
          <p:nvPr/>
        </p:nvCxnSpPr>
        <p:spPr>
          <a:xfrm>
            <a:off x="5053635" y="2973631"/>
            <a:ext cx="413018" cy="148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85AF4D6-B3F3-96B2-3E26-63FCFC0853B4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5827162" y="3331052"/>
            <a:ext cx="133478" cy="12430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45A7A-D96C-7D48-E177-29C80F7AE802}"/>
              </a:ext>
            </a:extLst>
          </p:cNvPr>
          <p:cNvCxnSpPr>
            <a:cxnSpLocks/>
            <a:endCxn id="6" idx="3"/>
          </p:cNvCxnSpPr>
          <p:nvPr/>
        </p:nvCxnSpPr>
        <p:spPr>
          <a:xfrm flipV="1">
            <a:off x="5817320" y="3748212"/>
            <a:ext cx="143318" cy="139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39F520-3F81-10DA-BC17-9DCECAFD2665}"/>
              </a:ext>
            </a:extLst>
          </p:cNvPr>
          <p:cNvCxnSpPr>
            <a:cxnSpLocks/>
          </p:cNvCxnSpPr>
          <p:nvPr/>
        </p:nvCxnSpPr>
        <p:spPr>
          <a:xfrm flipH="1">
            <a:off x="5045589" y="4077488"/>
            <a:ext cx="465496" cy="1311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79B7914B-EDFF-B0DA-5355-7BF0E5301738}"/>
              </a:ext>
            </a:extLst>
          </p:cNvPr>
          <p:cNvSpPr/>
          <p:nvPr/>
        </p:nvSpPr>
        <p:spPr>
          <a:xfrm>
            <a:off x="6578448" y="339385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xecution Statu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BA85404-9DC7-53E3-DD90-44B2D5B57E8C}"/>
              </a:ext>
            </a:extLst>
          </p:cNvPr>
          <p:cNvCxnSpPr>
            <a:cxnSpLocks/>
          </p:cNvCxnSpPr>
          <p:nvPr/>
        </p:nvCxnSpPr>
        <p:spPr>
          <a:xfrm flipV="1">
            <a:off x="5053633" y="2850409"/>
            <a:ext cx="1961356" cy="9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E8EE96-9425-3365-0566-0737223C0DAA}"/>
              </a:ext>
            </a:extLst>
          </p:cNvPr>
          <p:cNvCxnSpPr>
            <a:cxnSpLocks/>
          </p:cNvCxnSpPr>
          <p:nvPr/>
        </p:nvCxnSpPr>
        <p:spPr>
          <a:xfrm>
            <a:off x="5072329" y="4300157"/>
            <a:ext cx="1943472" cy="143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32C22AD8-4F8C-F3FB-B023-F5B4A506B08C}"/>
              </a:ext>
            </a:extLst>
          </p:cNvPr>
          <p:cNvSpPr/>
          <p:nvPr/>
        </p:nvSpPr>
        <p:spPr>
          <a:xfrm>
            <a:off x="4890587" y="3389091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Frequenc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895AC6-9E81-E2ED-C6D5-073BB288B1C5}"/>
              </a:ext>
            </a:extLst>
          </p:cNvPr>
          <p:cNvCxnSpPr>
            <a:cxnSpLocks/>
          </p:cNvCxnSpPr>
          <p:nvPr/>
        </p:nvCxnSpPr>
        <p:spPr>
          <a:xfrm>
            <a:off x="4734894" y="3191503"/>
            <a:ext cx="0" cy="775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4882FC0-0AE4-FF1C-AD72-017EF6E0C469}"/>
              </a:ext>
            </a:extLst>
          </p:cNvPr>
          <p:cNvCxnSpPr>
            <a:cxnSpLocks/>
          </p:cNvCxnSpPr>
          <p:nvPr/>
        </p:nvCxnSpPr>
        <p:spPr>
          <a:xfrm>
            <a:off x="7591022" y="3085717"/>
            <a:ext cx="366093" cy="37101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6FA65F-59C6-1349-9EDD-ED0B018076BA}"/>
              </a:ext>
            </a:extLst>
          </p:cNvPr>
          <p:cNvCxnSpPr>
            <a:cxnSpLocks/>
          </p:cNvCxnSpPr>
          <p:nvPr/>
        </p:nvCxnSpPr>
        <p:spPr>
          <a:xfrm flipV="1">
            <a:off x="7591835" y="3749591"/>
            <a:ext cx="365283" cy="31669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3A0C128-3B9D-E906-DAE5-F23416C79ABC}"/>
              </a:ext>
            </a:extLst>
          </p:cNvPr>
          <p:cNvCxnSpPr>
            <a:cxnSpLocks/>
          </p:cNvCxnSpPr>
          <p:nvPr/>
        </p:nvCxnSpPr>
        <p:spPr>
          <a:xfrm>
            <a:off x="7352423" y="3183187"/>
            <a:ext cx="810" cy="78562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17D9B2-85A3-7FD6-C4C2-60317150E3D4}"/>
              </a:ext>
            </a:extLst>
          </p:cNvPr>
          <p:cNvCxnSpPr>
            <a:cxnSpLocks/>
          </p:cNvCxnSpPr>
          <p:nvPr/>
        </p:nvCxnSpPr>
        <p:spPr>
          <a:xfrm flipV="1">
            <a:off x="8236761" y="3256213"/>
            <a:ext cx="116801" cy="20711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3A72C6C-AF60-5133-7F1F-12518F15C11A}"/>
              </a:ext>
            </a:extLst>
          </p:cNvPr>
          <p:cNvCxnSpPr>
            <a:cxnSpLocks/>
          </p:cNvCxnSpPr>
          <p:nvPr/>
        </p:nvCxnSpPr>
        <p:spPr>
          <a:xfrm flipH="1">
            <a:off x="6897050" y="3073663"/>
            <a:ext cx="280282" cy="3394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812E8B2-48DB-BD14-9184-7E4E531B4A53}"/>
              </a:ext>
            </a:extLst>
          </p:cNvPr>
          <p:cNvCxnSpPr>
            <a:cxnSpLocks/>
          </p:cNvCxnSpPr>
          <p:nvPr/>
        </p:nvCxnSpPr>
        <p:spPr>
          <a:xfrm>
            <a:off x="6888625" y="3788715"/>
            <a:ext cx="226008" cy="27756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CB54DE0A-2CC2-0CE9-4FB8-8F5D5BFB535F}"/>
              </a:ext>
            </a:extLst>
          </p:cNvPr>
          <p:cNvSpPr/>
          <p:nvPr/>
        </p:nvSpPr>
        <p:spPr>
          <a:xfrm>
            <a:off x="8242138" y="2919063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Typ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899A56-D7A6-F631-78B7-5714A35BBCCB}"/>
              </a:ext>
            </a:extLst>
          </p:cNvPr>
          <p:cNvCxnSpPr>
            <a:cxnSpLocks/>
          </p:cNvCxnSpPr>
          <p:nvPr/>
        </p:nvCxnSpPr>
        <p:spPr>
          <a:xfrm flipH="1">
            <a:off x="6954583" y="2792476"/>
            <a:ext cx="66743" cy="5886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BE39B7-A69E-372E-496C-DE2F8E71C56A}"/>
              </a:ext>
            </a:extLst>
          </p:cNvPr>
          <p:cNvCxnSpPr>
            <a:cxnSpLocks/>
          </p:cNvCxnSpPr>
          <p:nvPr/>
        </p:nvCxnSpPr>
        <p:spPr>
          <a:xfrm flipH="1" flipV="1">
            <a:off x="6958446" y="2846481"/>
            <a:ext cx="66743" cy="6787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A13E3-C7A7-3DF1-F7E8-105AC80C9E35}"/>
              </a:ext>
            </a:extLst>
          </p:cNvPr>
          <p:cNvGrpSpPr/>
          <p:nvPr/>
        </p:nvGrpSpPr>
        <p:grpSpPr>
          <a:xfrm>
            <a:off x="6949528" y="4239217"/>
            <a:ext cx="70605" cy="121880"/>
            <a:chOff x="7399727" y="1651756"/>
            <a:chExt cx="165137" cy="285061"/>
          </a:xfrm>
        </p:grpSpPr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3244CEA2-CCDC-D6B6-4159-B066E5072C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33C726E6-6948-7860-37B4-13805B33D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08760" y="1778064"/>
              <a:ext cx="156104" cy="15875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B6B6636-89C7-0662-6090-AD18B42FAD77}"/>
              </a:ext>
            </a:extLst>
          </p:cNvPr>
          <p:cNvGrpSpPr/>
          <p:nvPr/>
        </p:nvGrpSpPr>
        <p:grpSpPr>
          <a:xfrm>
            <a:off x="4684700" y="3895146"/>
            <a:ext cx="95823" cy="85531"/>
            <a:chOff x="4677246" y="3178928"/>
            <a:chExt cx="224118" cy="200045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59696B14-DBAC-BE70-8C4E-3C692B8C8B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4DD969F-07C5-9F79-EC40-4F2A4D7AFD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0100F2D-BBC8-B8B5-F7C4-DE174AB86D19}"/>
              </a:ext>
            </a:extLst>
          </p:cNvPr>
          <p:cNvGrpSpPr/>
          <p:nvPr/>
        </p:nvGrpSpPr>
        <p:grpSpPr>
          <a:xfrm>
            <a:off x="7304528" y="3895487"/>
            <a:ext cx="95823" cy="85531"/>
            <a:chOff x="4677246" y="3178928"/>
            <a:chExt cx="224118" cy="200045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2BF94E1-2005-D336-C962-FFE99DF6B6F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65F59E74-DC6E-A3DD-C987-6EB77B9324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81937E-7673-2015-E5E6-04D4129A139B}"/>
              </a:ext>
            </a:extLst>
          </p:cNvPr>
          <p:cNvGrpSpPr/>
          <p:nvPr/>
        </p:nvGrpSpPr>
        <p:grpSpPr>
          <a:xfrm rot="19517994">
            <a:off x="7881260" y="3682341"/>
            <a:ext cx="207869" cy="116463"/>
            <a:chOff x="7390159" y="1651756"/>
            <a:chExt cx="486180" cy="272391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ACC4B4DD-EC7A-9213-F969-9E623DF2C78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108879EF-7B98-BD0D-8C2A-331B95D7227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390159" y="1837604"/>
              <a:ext cx="486180" cy="8654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2BBD47-63D0-2AD2-49F3-CB669DFE0421}"/>
              </a:ext>
            </a:extLst>
          </p:cNvPr>
          <p:cNvGrpSpPr/>
          <p:nvPr/>
        </p:nvGrpSpPr>
        <p:grpSpPr>
          <a:xfrm rot="3920540">
            <a:off x="7857810" y="3443550"/>
            <a:ext cx="206053" cy="98196"/>
            <a:chOff x="7399727" y="1651756"/>
            <a:chExt cx="481932" cy="229667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EC233B78-277A-19D7-DE67-0A8EE07395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88B3A69-0484-3C95-76BF-12A8467E3021}"/>
                </a:ext>
              </a:extLst>
            </p:cNvPr>
            <p:cNvCxnSpPr>
              <a:cxnSpLocks/>
            </p:cNvCxnSpPr>
            <p:nvPr/>
          </p:nvCxnSpPr>
          <p:spPr>
            <a:xfrm rot="17679460" flipH="1" flipV="1">
              <a:off x="7595429" y="1595192"/>
              <a:ext cx="98500" cy="47396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B408E56-5F29-E056-515B-121808814771}"/>
              </a:ext>
            </a:extLst>
          </p:cNvPr>
          <p:cNvGrpSpPr/>
          <p:nvPr/>
        </p:nvGrpSpPr>
        <p:grpSpPr>
          <a:xfrm rot="7668979">
            <a:off x="8073373" y="3370989"/>
            <a:ext cx="278511" cy="186628"/>
            <a:chOff x="7336001" y="1575773"/>
            <a:chExt cx="651403" cy="436428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6BCE252-7F41-9620-C601-1CD271BFEAB7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659066" y="1252708"/>
              <a:ext cx="5273" cy="65140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2DFA3EA-7617-DE06-80C9-6252572ECA33}"/>
                </a:ext>
              </a:extLst>
            </p:cNvPr>
            <p:cNvCxnSpPr>
              <a:cxnSpLocks/>
            </p:cNvCxnSpPr>
            <p:nvPr/>
          </p:nvCxnSpPr>
          <p:spPr>
            <a:xfrm rot="13931021" flipV="1">
              <a:off x="7398265" y="1799497"/>
              <a:ext cx="303400" cy="1220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CE6EDE19-0F1B-D4DF-817F-8680C5DDC8AE}"/>
              </a:ext>
            </a:extLst>
          </p:cNvPr>
          <p:cNvSpPr/>
          <p:nvPr/>
        </p:nvSpPr>
        <p:spPr>
          <a:xfrm>
            <a:off x="7893069" y="339608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Event Lo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E98C42F-2EC0-C59D-86C2-62B7BB6DD101}"/>
              </a:ext>
            </a:extLst>
          </p:cNvPr>
          <p:cNvGrpSpPr/>
          <p:nvPr/>
        </p:nvGrpSpPr>
        <p:grpSpPr>
          <a:xfrm rot="19517994">
            <a:off x="7077535" y="3065764"/>
            <a:ext cx="183339" cy="110076"/>
            <a:chOff x="7399727" y="1651756"/>
            <a:chExt cx="428807" cy="25745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4E67F28B-189A-8B9D-B5AF-DF89E7301C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99727" y="1651756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D7EFD02-B185-FDB4-9EEF-3E2D8FB254E4}"/>
                </a:ext>
              </a:extLst>
            </p:cNvPr>
            <p:cNvCxnSpPr>
              <a:cxnSpLocks/>
            </p:cNvCxnSpPr>
            <p:nvPr/>
          </p:nvCxnSpPr>
          <p:spPr>
            <a:xfrm rot="2082006" flipH="1">
              <a:off x="7402744" y="1797322"/>
              <a:ext cx="425790" cy="11189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DAF7EC-566C-38BF-2B75-DCDE05EEDDA5}"/>
              </a:ext>
            </a:extLst>
          </p:cNvPr>
          <p:cNvGrpSpPr/>
          <p:nvPr/>
        </p:nvGrpSpPr>
        <p:grpSpPr>
          <a:xfrm rot="4163993">
            <a:off x="7023656" y="4024210"/>
            <a:ext cx="165039" cy="86907"/>
            <a:chOff x="7412027" y="1645544"/>
            <a:chExt cx="386006" cy="203264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CB5ECC-7432-9ACC-9B17-355A407837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13422" y="1645544"/>
              <a:ext cx="156104" cy="13766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5DC6A35-D926-80C6-CD92-8F0C04DB4ED1}"/>
                </a:ext>
              </a:extLst>
            </p:cNvPr>
            <p:cNvCxnSpPr>
              <a:cxnSpLocks/>
            </p:cNvCxnSpPr>
            <p:nvPr/>
          </p:nvCxnSpPr>
          <p:spPr>
            <a:xfrm rot="17436007" flipH="1" flipV="1">
              <a:off x="7560672" y="1611447"/>
              <a:ext cx="88716" cy="3860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104D3DF9-CD8E-80FD-169B-A350B897C38C}"/>
              </a:ext>
            </a:extLst>
          </p:cNvPr>
          <p:cNvSpPr/>
          <p:nvPr/>
        </p:nvSpPr>
        <p:spPr>
          <a:xfrm>
            <a:off x="7015800" y="3968812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Instance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91F781B-DBD0-F047-BB6C-E9FC30E8D2FE}"/>
              </a:ext>
            </a:extLst>
          </p:cNvPr>
          <p:cNvGrpSpPr/>
          <p:nvPr/>
        </p:nvGrpSpPr>
        <p:grpSpPr>
          <a:xfrm rot="1870527">
            <a:off x="4854557" y="3936714"/>
            <a:ext cx="95823" cy="85531"/>
            <a:chOff x="4677246" y="3178928"/>
            <a:chExt cx="224118" cy="200045"/>
          </a:xfrm>
        </p:grpSpPr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63EE716-9769-B0C5-6EA8-FBAEDC571F0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3EBB7C8-26B0-DEFC-F19D-44FBF8F45C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B6ACDF6-3238-3D68-DB9B-BDD93DBB7ED5}"/>
              </a:ext>
            </a:extLst>
          </p:cNvPr>
          <p:cNvGrpSpPr/>
          <p:nvPr/>
        </p:nvGrpSpPr>
        <p:grpSpPr>
          <a:xfrm rot="14858750">
            <a:off x="5376404" y="4055442"/>
            <a:ext cx="95823" cy="85531"/>
            <a:chOff x="4677246" y="3178928"/>
            <a:chExt cx="224118" cy="200045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CCE6576C-96CE-89F5-F929-D15738E5FA8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A8F1F79-C33D-931B-B43F-255758EC4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6755032-B515-5DDE-2DCE-4181DFBED92D}"/>
              </a:ext>
            </a:extLst>
          </p:cNvPr>
          <p:cNvGrpSpPr/>
          <p:nvPr/>
        </p:nvGrpSpPr>
        <p:grpSpPr>
          <a:xfrm rot="2852291">
            <a:off x="5786282" y="3828705"/>
            <a:ext cx="95823" cy="85531"/>
            <a:chOff x="4677246" y="3178928"/>
            <a:chExt cx="224118" cy="200045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F462D5-4F98-AA21-404E-0218F51A84C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AA3FDDB-FA0E-15C2-F9A4-1F0D0D0D3A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5E5D47C-39DA-7C06-132D-5C40AC2F7029}"/>
              </a:ext>
            </a:extLst>
          </p:cNvPr>
          <p:cNvGrpSpPr/>
          <p:nvPr/>
        </p:nvGrpSpPr>
        <p:grpSpPr>
          <a:xfrm rot="17574468">
            <a:off x="5389066" y="3070931"/>
            <a:ext cx="95823" cy="85531"/>
            <a:chOff x="4677246" y="3178928"/>
            <a:chExt cx="224118" cy="200045"/>
          </a:xfrm>
        </p:grpSpPr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319B010-2CAD-EE4A-3704-AC9DC604D3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51479CC-2BF6-5915-BC54-6B1CE261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2688E90-8528-416B-2D90-21DEAB4CDDD1}"/>
              </a:ext>
            </a:extLst>
          </p:cNvPr>
          <p:cNvGrpSpPr/>
          <p:nvPr/>
        </p:nvGrpSpPr>
        <p:grpSpPr>
          <a:xfrm rot="7526945">
            <a:off x="5805967" y="3308588"/>
            <a:ext cx="95823" cy="85531"/>
            <a:chOff x="4677246" y="3178928"/>
            <a:chExt cx="224118" cy="200045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17BE31D-316C-D2F7-8DAB-E91A00DDD81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D2FA328-0BFB-13A2-DB22-B137E41940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DFB7989-D4D8-76E0-6A9C-ADB88EE6F32A}"/>
              </a:ext>
            </a:extLst>
          </p:cNvPr>
          <p:cNvSpPr/>
          <p:nvPr/>
        </p:nvSpPr>
        <p:spPr>
          <a:xfrm>
            <a:off x="5453858" y="298706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Parameter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12834BC-240E-6FD8-A39A-8341E67EBFAA}"/>
              </a:ext>
            </a:extLst>
          </p:cNvPr>
          <p:cNvSpPr/>
          <p:nvPr/>
        </p:nvSpPr>
        <p:spPr>
          <a:xfrm>
            <a:off x="5444017" y="382719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 Parameter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A5BD4E-3538-0E25-91BB-73411B83FB32}"/>
              </a:ext>
            </a:extLst>
          </p:cNvPr>
          <p:cNvGrpSpPr/>
          <p:nvPr/>
        </p:nvGrpSpPr>
        <p:grpSpPr>
          <a:xfrm>
            <a:off x="3786146" y="4021361"/>
            <a:ext cx="92099" cy="85531"/>
            <a:chOff x="4685955" y="3178928"/>
            <a:chExt cx="215409" cy="200045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2C03BD4-5DC0-DF0C-1839-8A28E8C02C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FB4111E1-D045-8D4A-F639-0D245E561F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5955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9559A0E-833E-6A0B-C82B-F42C486FA2F9}"/>
              </a:ext>
            </a:extLst>
          </p:cNvPr>
          <p:cNvGrpSpPr/>
          <p:nvPr/>
        </p:nvGrpSpPr>
        <p:grpSpPr>
          <a:xfrm rot="5400000">
            <a:off x="4026254" y="4257228"/>
            <a:ext cx="95823" cy="85531"/>
            <a:chOff x="4677246" y="3178928"/>
            <a:chExt cx="224118" cy="20004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28B4D4A-E772-1966-6898-9EC9F013427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609799CF-D537-3336-4727-B090D9A718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0751F88D-6B31-C351-6A65-9CD7CBDAF119}"/>
              </a:ext>
            </a:extLst>
          </p:cNvPr>
          <p:cNvCxnSpPr>
            <a:cxnSpLocks/>
          </p:cNvCxnSpPr>
          <p:nvPr/>
        </p:nvCxnSpPr>
        <p:spPr>
          <a:xfrm flipH="1" flipV="1">
            <a:off x="4427430" y="2474618"/>
            <a:ext cx="290363" cy="3075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0DB6FF2-6FB4-95CC-A6AB-867A4860BF34}"/>
              </a:ext>
            </a:extLst>
          </p:cNvPr>
          <p:cNvGrpSpPr/>
          <p:nvPr/>
        </p:nvGrpSpPr>
        <p:grpSpPr>
          <a:xfrm rot="8380990">
            <a:off x="4334389" y="2506790"/>
            <a:ext cx="95823" cy="85531"/>
            <a:chOff x="4677246" y="3178928"/>
            <a:chExt cx="224118" cy="200045"/>
          </a:xfrm>
        </p:grpSpPr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212260C0-F236-8AAD-CFA7-77A7B9A05BC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5369FE9-AB17-70CC-1C59-F9BF55FCDD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73E17BD-6E90-9750-C18A-255E452D42DC}"/>
              </a:ext>
            </a:extLst>
          </p:cNvPr>
          <p:cNvCxnSpPr>
            <a:cxnSpLocks/>
          </p:cNvCxnSpPr>
          <p:nvPr/>
        </p:nvCxnSpPr>
        <p:spPr>
          <a:xfrm flipH="1" flipV="1">
            <a:off x="4363461" y="2530728"/>
            <a:ext cx="289523" cy="3116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Oval 101">
            <a:extLst>
              <a:ext uri="{FF2B5EF4-FFF2-40B4-BE49-F238E27FC236}">
                <a16:creationId xmlns:a16="http://schemas.microsoft.com/office/drawing/2014/main" id="{F221BB4A-AC67-179C-132F-AD7EA704F978}"/>
              </a:ext>
            </a:extLst>
          </p:cNvPr>
          <p:cNvSpPr/>
          <p:nvPr/>
        </p:nvSpPr>
        <p:spPr>
          <a:xfrm>
            <a:off x="7014990" y="2517629"/>
            <a:ext cx="674866" cy="66555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  <a:b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</a:br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Instanc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04A0051-B0A1-EB0B-A8C4-68E4D4169E9B}"/>
              </a:ext>
            </a:extLst>
          </p:cNvPr>
          <p:cNvGrpSpPr/>
          <p:nvPr/>
        </p:nvGrpSpPr>
        <p:grpSpPr>
          <a:xfrm rot="8380990">
            <a:off x="4402838" y="2454274"/>
            <a:ext cx="95823" cy="85531"/>
            <a:chOff x="4677246" y="3178928"/>
            <a:chExt cx="224118" cy="200045"/>
          </a:xfrm>
        </p:grpSpPr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16C4693-8426-4EE5-F8F2-827386EF50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4A31AACE-7C60-8605-A748-A50E89B9E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8" name="Oval 107">
            <a:extLst>
              <a:ext uri="{FF2B5EF4-FFF2-40B4-BE49-F238E27FC236}">
                <a16:creationId xmlns:a16="http://schemas.microsoft.com/office/drawing/2014/main" id="{2CB8AC33-5922-FD65-CCB7-C2C838F703D3}"/>
              </a:ext>
            </a:extLst>
          </p:cNvPr>
          <p:cNvSpPr/>
          <p:nvPr/>
        </p:nvSpPr>
        <p:spPr>
          <a:xfrm>
            <a:off x="4049365" y="2138570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 Hierarchy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1D09ABA7-8D80-17B0-229A-3D0175F6FCDE}"/>
              </a:ext>
            </a:extLst>
          </p:cNvPr>
          <p:cNvSpPr/>
          <p:nvPr/>
        </p:nvSpPr>
        <p:spPr>
          <a:xfrm>
            <a:off x="7949650" y="4093074"/>
            <a:ext cx="437353" cy="41416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381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Source Control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CAB0FF6-4FCE-ABF1-2727-11CA601E2007}"/>
              </a:ext>
            </a:extLst>
          </p:cNvPr>
          <p:cNvCxnSpPr>
            <a:cxnSpLocks/>
            <a:stCxn id="44" idx="6"/>
            <a:endCxn id="114" idx="2"/>
          </p:cNvCxnSpPr>
          <p:nvPr/>
        </p:nvCxnSpPr>
        <p:spPr>
          <a:xfrm flipV="1">
            <a:off x="7690666" y="4300155"/>
            <a:ext cx="258984" cy="14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5F6E189-A4B6-EE58-055D-BC0CC815FB5E}"/>
              </a:ext>
            </a:extLst>
          </p:cNvPr>
          <p:cNvGrpSpPr/>
          <p:nvPr/>
        </p:nvGrpSpPr>
        <p:grpSpPr>
          <a:xfrm rot="8767623">
            <a:off x="4861157" y="3140421"/>
            <a:ext cx="95823" cy="85531"/>
            <a:chOff x="4677246" y="3178928"/>
            <a:chExt cx="224118" cy="200045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57393E56-806D-5A68-5A58-8FEA9C6D656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9A0445C-FA56-2CB7-9EEF-5763ED5622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B09E90B5-296C-7EA7-529C-70287A194563}"/>
              </a:ext>
            </a:extLst>
          </p:cNvPr>
          <p:cNvSpPr/>
          <p:nvPr/>
        </p:nvSpPr>
        <p:spPr>
          <a:xfrm>
            <a:off x="3612012" y="4092914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457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Are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CAEC83B-16B6-8C07-FE01-012A1A1A98E3}"/>
              </a:ext>
            </a:extLst>
          </p:cNvPr>
          <p:cNvCxnSpPr>
            <a:cxnSpLocks/>
          </p:cNvCxnSpPr>
          <p:nvPr/>
        </p:nvCxnSpPr>
        <p:spPr>
          <a:xfrm>
            <a:off x="4385088" y="3784990"/>
            <a:ext cx="220749" cy="21585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3AD53F-0438-3C99-2225-D1B4792B4EF6}"/>
              </a:ext>
            </a:extLst>
          </p:cNvPr>
          <p:cNvCxnSpPr>
            <a:cxnSpLocks/>
          </p:cNvCxnSpPr>
          <p:nvPr/>
        </p:nvCxnSpPr>
        <p:spPr>
          <a:xfrm flipV="1">
            <a:off x="4386884" y="3163589"/>
            <a:ext cx="207065" cy="33716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A74CFFF-55ED-EE8B-DD82-CB9C69FBE30B}"/>
              </a:ext>
            </a:extLst>
          </p:cNvPr>
          <p:cNvGrpSpPr/>
          <p:nvPr/>
        </p:nvGrpSpPr>
        <p:grpSpPr>
          <a:xfrm rot="12889257">
            <a:off x="4528647" y="3140051"/>
            <a:ext cx="95823" cy="85531"/>
            <a:chOff x="4677246" y="3178928"/>
            <a:chExt cx="224118" cy="200045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97D31B-E20D-4592-DA3E-182E97BEE04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B4A043C-303B-1FA8-AF45-B5324EB8B4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6E6C1B7-10ED-CA76-6509-3379BE164D86}"/>
              </a:ext>
            </a:extLst>
          </p:cNvPr>
          <p:cNvGrpSpPr/>
          <p:nvPr/>
        </p:nvGrpSpPr>
        <p:grpSpPr>
          <a:xfrm rot="19153662">
            <a:off x="4522811" y="3934432"/>
            <a:ext cx="95823" cy="85531"/>
            <a:chOff x="4677246" y="3178928"/>
            <a:chExt cx="224118" cy="200045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79106A24-75D2-617F-6F33-078C8F0D6E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97163" y="3190289"/>
              <a:ext cx="104201" cy="18868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77DDBFB2-D799-439E-A0D3-5D6CAC9A3F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7246" y="3178928"/>
              <a:ext cx="118317" cy="185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Oval 100">
            <a:extLst>
              <a:ext uri="{FF2B5EF4-FFF2-40B4-BE49-F238E27FC236}">
                <a16:creationId xmlns:a16="http://schemas.microsoft.com/office/drawing/2014/main" id="{AF5EE437-DA6B-8F9D-18A8-1E6EFEEE430F}"/>
              </a:ext>
            </a:extLst>
          </p:cNvPr>
          <p:cNvSpPr/>
          <p:nvPr/>
        </p:nvSpPr>
        <p:spPr>
          <a:xfrm>
            <a:off x="4397463" y="3967377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Module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49849D36-8875-D331-1801-CE26645D3E7E}"/>
              </a:ext>
            </a:extLst>
          </p:cNvPr>
          <p:cNvSpPr/>
          <p:nvPr/>
        </p:nvSpPr>
        <p:spPr>
          <a:xfrm>
            <a:off x="4404098" y="2528751"/>
            <a:ext cx="674866" cy="6655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686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Batch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A409CC58-2612-0577-4BCB-3A7C9ED0CA9B}"/>
              </a:ext>
            </a:extLst>
          </p:cNvPr>
          <p:cNvSpPr/>
          <p:nvPr/>
        </p:nvSpPr>
        <p:spPr>
          <a:xfrm>
            <a:off x="4166411" y="3370829"/>
            <a:ext cx="437353" cy="41416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>
              <a:tabLst>
                <a:tab pos="228076" algn="l"/>
              </a:tabLst>
            </a:pPr>
            <a:r>
              <a:rPr lang="en-AU" sz="305" dirty="0">
                <a:solidFill>
                  <a:srgbClr val="000000"/>
                </a:solidFill>
                <a:latin typeface="Okomito Next" pitchFamily="2" charset="77"/>
                <a:cs typeface="Segoe UI Light" panose="020B0502040204020203" pitchFamily="34" charset="0"/>
              </a:rPr>
              <a:t>Typ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E5EE1D-BE77-CA54-8A3B-394EF2895C75}"/>
              </a:ext>
            </a:extLst>
          </p:cNvPr>
          <p:cNvSpPr/>
          <p:nvPr/>
        </p:nvSpPr>
        <p:spPr>
          <a:xfrm>
            <a:off x="6275350" y="5256775"/>
            <a:ext cx="1021668" cy="96749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900" dirty="0">
                <a:solidFill>
                  <a:schemeClr val="tx1"/>
                </a:solidFill>
                <a:latin typeface="Okomito Next" pitchFamily="2" charset="77"/>
                <a:cs typeface="Segoe UI Light" panose="020B0502040204020203" pitchFamily="34" charset="0"/>
              </a:rPr>
              <a:t>Static data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C25815F-9101-F22A-D961-2C9C87311F14}"/>
              </a:ext>
            </a:extLst>
          </p:cNvPr>
          <p:cNvSpPr/>
          <p:nvPr/>
        </p:nvSpPr>
        <p:spPr>
          <a:xfrm>
            <a:off x="7347818" y="5256775"/>
            <a:ext cx="1021668" cy="96749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96773"/>
            <a:r>
              <a:rPr lang="en-AU" sz="900" dirty="0">
                <a:solidFill>
                  <a:schemeClr val="tx1"/>
                </a:solidFill>
                <a:latin typeface="Okomito Next" pitchFamily="2" charset="77"/>
                <a:cs typeface="Segoe UI Light" panose="020B0502040204020203" pitchFamily="34" charset="0"/>
              </a:rPr>
              <a:t>Runtime data</a:t>
            </a:r>
          </a:p>
        </p:txBody>
      </p:sp>
    </p:spTree>
    <p:extLst>
      <p:ext uri="{BB962C8B-B14F-4D97-AF65-F5344CB8AC3E}">
        <p14:creationId xmlns:p14="http://schemas.microsoft.com/office/powerpoint/2010/main" val="2066917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DAMOH 2.0.2">
  <a:themeElements>
    <a:clrScheme name="TEDAMOH">
      <a:dk1>
        <a:srgbClr val="000000"/>
      </a:dk1>
      <a:lt1>
        <a:srgbClr val="FFFFFF"/>
      </a:lt1>
      <a:dk2>
        <a:srgbClr val="377889"/>
      </a:dk2>
      <a:lt2>
        <a:srgbClr val="F0F0F0"/>
      </a:lt2>
      <a:accent1>
        <a:srgbClr val="EB570D"/>
      </a:accent1>
      <a:accent2>
        <a:srgbClr val="EB7E48"/>
      </a:accent2>
      <a:accent3>
        <a:srgbClr val="919191"/>
      </a:accent3>
      <a:accent4>
        <a:srgbClr val="53B3CC"/>
      </a:accent4>
      <a:accent5>
        <a:srgbClr val="009788"/>
      </a:accent5>
      <a:accent6>
        <a:srgbClr val="79C8BE"/>
      </a:accent6>
      <a:hlink>
        <a:srgbClr val="0563C1"/>
      </a:hlink>
      <a:folHlink>
        <a:srgbClr val="5E9FE4"/>
      </a:folHlink>
    </a:clrScheme>
    <a:fontScheme name="Tedamoh Schriften">
      <a:majorFont>
        <a:latin typeface="Okomito Light"/>
        <a:ea typeface=""/>
        <a:cs typeface=""/>
      </a:majorFont>
      <a:minorFont>
        <a:latin typeface="Okomi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_TEDAMOH_Master_2.0.4" id="{533ED1BB-364C-A848-BEC3-4FAC25717A00}" vid="{7F5BB8B5-4389-024E-8EC3-28900B8E9F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30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Okomito Next</vt:lpstr>
      <vt:lpstr>Okomito Next Light</vt:lpstr>
      <vt:lpstr>Okomito Next Medium</vt:lpstr>
      <vt:lpstr>Segoe UI Light</vt:lpstr>
      <vt:lpstr>TEDAMOH 2.0.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oelant Vos</dc:creator>
  <cp:lastModifiedBy>Roelant Vos</cp:lastModifiedBy>
  <cp:revision>6</cp:revision>
  <dcterms:created xsi:type="dcterms:W3CDTF">2024-09-23T10:39:45Z</dcterms:created>
  <dcterms:modified xsi:type="dcterms:W3CDTF">2024-09-25T07:20:44Z</dcterms:modified>
</cp:coreProperties>
</file>